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08" r:id="rId1"/>
  </p:sldMasterIdLst>
  <p:notesMasterIdLst>
    <p:notesMasterId r:id="rId6"/>
  </p:notesMasterIdLst>
  <p:handoutMasterIdLst>
    <p:handoutMasterId r:id="rId7"/>
  </p:handoutMasterIdLst>
  <p:sldIdLst>
    <p:sldId id="1050" r:id="rId2"/>
    <p:sldId id="362" r:id="rId3"/>
    <p:sldId id="1051" r:id="rId4"/>
    <p:sldId id="1047" r:id="rId5"/>
  </p:sldIdLst>
  <p:sldSz cx="9144000" cy="6858000" type="screen4x3"/>
  <p:notesSz cx="6797675" cy="9926638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1pPr>
    <a:lvl2pPr marL="4572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2pPr>
    <a:lvl3pPr marL="9144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3pPr>
    <a:lvl4pPr marL="13716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4pPr>
    <a:lvl5pPr marL="18288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9pPr>
  </p:defaultTextStyle>
  <p:extLst>
    <p:ext uri="{EFAFB233-063F-42B5-8137-9DF3F51BA10A}">
      <p15:sldGuideLst xmlns:p15="http://schemas.microsoft.com/office/powerpoint/2012/main">
        <p15:guide id="1" orient="horz" pos="2372">
          <p15:clr>
            <a:srgbClr val="A4A3A4"/>
          </p15:clr>
        </p15:guide>
        <p15:guide id="2" orient="horz" pos="480">
          <p15:clr>
            <a:srgbClr val="A4A3A4"/>
          </p15:clr>
        </p15:guide>
        <p15:guide id="3" orient="horz" pos="1130">
          <p15:clr>
            <a:srgbClr val="A4A3A4"/>
          </p15:clr>
        </p15:guide>
        <p15:guide id="4" orient="horz" pos="1684">
          <p15:clr>
            <a:srgbClr val="A4A3A4"/>
          </p15:clr>
        </p15:guide>
        <p15:guide id="5" orient="horz" pos="29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jarne Graabech Sørensen" initials="BGS" lastIdx="9" clrIdx="0"/>
  <p:cmAuthor id="1" name="Steen Kærn Christiansen" initials="SKC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yst layout 2 - Markerin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8B1032C-EA38-4F05-BA0D-38AFFFC7BED3}" styleName="Lyst layout 3 - Markering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llemlayout 1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llemlayout 4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Mellemlayout 3 - 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AF606853-7671-496A-8E4F-DF71F8EC918B}" styleName="Mørkt layout 1 - Markering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Mørkt layout 2 - Markering 5/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ema til typografi 1 - Marker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01" autoAdjust="0"/>
    <p:restoredTop sz="87952" autoAdjust="0"/>
  </p:normalViewPr>
  <p:slideViewPr>
    <p:cSldViewPr snapToGrid="0">
      <p:cViewPr varScale="1">
        <p:scale>
          <a:sx n="55" d="100"/>
          <a:sy n="55" d="100"/>
        </p:scale>
        <p:origin x="1700" y="48"/>
      </p:cViewPr>
      <p:guideLst>
        <p:guide orient="horz" pos="2372"/>
        <p:guide orient="horz" pos="480"/>
        <p:guide orient="horz" pos="1130"/>
        <p:guide orient="horz" pos="1684"/>
        <p:guide orient="horz" pos="295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70" d="100"/>
          <a:sy n="170" d="100"/>
        </p:scale>
        <p:origin x="-1992" y="263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trid Jacobsen" userId="007c082c-41e2-4fcb-b558-4dd575e214ed" providerId="ADAL" clId="{341C8759-4F61-4CA1-9BAC-A135E6C03C3C}"/>
    <pc:docChg chg="undo custSel addSld delSld modSld sldOrd delMainMaster">
      <pc:chgData name="Astrid Jacobsen" userId="007c082c-41e2-4fcb-b558-4dd575e214ed" providerId="ADAL" clId="{341C8759-4F61-4CA1-9BAC-A135E6C03C3C}" dt="2026-04-17T10:23:45.926" v="1107" actId="2696"/>
      <pc:docMkLst>
        <pc:docMk/>
      </pc:docMkLst>
      <pc:sldChg chg="add del">
        <pc:chgData name="Astrid Jacobsen" userId="007c082c-41e2-4fcb-b558-4dd575e214ed" providerId="ADAL" clId="{341C8759-4F61-4CA1-9BAC-A135E6C03C3C}" dt="2026-04-17T10:23:43.624" v="1106" actId="2696"/>
        <pc:sldMkLst>
          <pc:docMk/>
          <pc:sldMk cId="4106762588" sldId="271"/>
        </pc:sldMkLst>
      </pc:sldChg>
      <pc:sldChg chg="add del">
        <pc:chgData name="Astrid Jacobsen" userId="007c082c-41e2-4fcb-b558-4dd575e214ed" providerId="ADAL" clId="{341C8759-4F61-4CA1-9BAC-A135E6C03C3C}" dt="2026-04-17T10:23:45.926" v="1107" actId="2696"/>
        <pc:sldMkLst>
          <pc:docMk/>
          <pc:sldMk cId="111836050" sldId="272"/>
        </pc:sldMkLst>
      </pc:sldChg>
      <pc:sldChg chg="delSp modSp mod">
        <pc:chgData name="Astrid Jacobsen" userId="007c082c-41e2-4fcb-b558-4dd575e214ed" providerId="ADAL" clId="{341C8759-4F61-4CA1-9BAC-A135E6C03C3C}" dt="2026-04-13T09:32:37.317" v="1099" actId="20577"/>
        <pc:sldMkLst>
          <pc:docMk/>
          <pc:sldMk cId="342709361" sldId="1050"/>
        </pc:sldMkLst>
        <pc:spChg chg="mod">
          <ac:chgData name="Astrid Jacobsen" userId="007c082c-41e2-4fcb-b558-4dd575e214ed" providerId="ADAL" clId="{341C8759-4F61-4CA1-9BAC-A135E6C03C3C}" dt="2026-04-13T09:32:37.317" v="1099" actId="20577"/>
          <ac:spMkLst>
            <pc:docMk/>
            <pc:sldMk cId="342709361" sldId="1050"/>
            <ac:spMk id="3" creationId="{2AA84774-B203-813E-60C9-5B887C95BB73}"/>
          </ac:spMkLst>
        </pc:spChg>
      </pc:sldChg>
      <pc:sldMasterChg chg="del delSldLayout">
        <pc:chgData name="Astrid Jacobsen" userId="007c082c-41e2-4fcb-b558-4dd575e214ed" providerId="ADAL" clId="{341C8759-4F61-4CA1-9BAC-A135E6C03C3C}" dt="2026-04-17T10:23:45.926" v="1107" actId="2696"/>
        <pc:sldMasterMkLst>
          <pc:docMk/>
          <pc:sldMasterMk cId="1148760014" sldId="2147483883"/>
        </pc:sldMasterMkLst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2617622770" sldId="2147483884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145065814" sldId="2147483885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927235301" sldId="2147483886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3739063813" sldId="2147483887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4129993673" sldId="2147483888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239939759" sldId="2147483889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4140937357" sldId="2147483890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2056498861" sldId="2147483891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2789751397" sldId="2147483892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3761197082" sldId="2147483893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2383278750" sldId="2147483894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373035098" sldId="2147483895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656531089" sldId="2147483896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4124419563" sldId="2147483897"/>
          </pc:sldLayoutMkLst>
        </pc:sldLayoutChg>
        <pc:sldLayoutChg chg="del">
          <pc:chgData name="Astrid Jacobsen" userId="007c082c-41e2-4fcb-b558-4dd575e214ed" providerId="ADAL" clId="{341C8759-4F61-4CA1-9BAC-A135E6C03C3C}" dt="2026-04-17T10:23:45.926" v="1107" actId="2696"/>
          <pc:sldLayoutMkLst>
            <pc:docMk/>
            <pc:sldMasterMk cId="1148760014" sldId="2147483883"/>
            <pc:sldLayoutMk cId="3608557070" sldId="2147483898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r>
              <a:rPr lang="da-DK"/>
              <a:t>14-12-2015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E520CA43-DB7E-4407-B17B-C208A2B1F30C}" type="slidenum">
              <a:rPr lang="da-DK"/>
              <a:pPr>
                <a:defRPr/>
              </a:pPr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482794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Rectangle 2"/>
          <p:cNvSpPr>
            <a:spLocks noGrp="1" noChangeArrowheads="1"/>
          </p:cNvSpPr>
          <p:nvPr>
            <p:ph type="body" sz="quarter" idx="1"/>
          </p:nvPr>
        </p:nvSpPr>
        <p:spPr bwMode="auto">
          <a:xfrm>
            <a:off x="679452" y="4714877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7303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 pitchFamily="-106" charset="-128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572CE-8432-B8BF-F9D1-7454A01DC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>
            <a:extLst>
              <a:ext uri="{FF2B5EF4-FFF2-40B4-BE49-F238E27FC236}">
                <a16:creationId xmlns:a16="http://schemas.microsoft.com/office/drawing/2014/main" id="{FC012CFA-E89E-9571-21CF-142189E23E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CA591170-21D1-FD06-8025-4454BF587A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85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0884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733A0-26DE-9681-2113-F7977B98C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>
            <a:extLst>
              <a:ext uri="{FF2B5EF4-FFF2-40B4-BE49-F238E27FC236}">
                <a16:creationId xmlns:a16="http://schemas.microsoft.com/office/drawing/2014/main" id="{9047CB05-D578-1113-9303-EFDAF4B9A8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E612ECA-1CE3-1FFB-8359-6971ED446B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65812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5725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9DA85-E237-414D-A4A7-E1EE331E0E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335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D7F6E5-B367-4E9C-9CA9-62FF49E6CF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6A73F-D75F-462B-B0DF-34EF239532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4B1BF-5002-4073-ABF8-66C9A5C2DC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4623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357431"/>
            <a:ext cx="4040188" cy="37687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64623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357429"/>
            <a:ext cx="4041775" cy="37687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ED5B8-449C-4C00-9ED1-2158D4C717D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716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AA027F-BB32-4158-BFC0-A1BCE3269D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285875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7CA500-E3E2-4B4E-A2E9-6507310960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225741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000364" y="273050"/>
            <a:ext cx="5686436" cy="585311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225741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EB8B4D-06E0-476D-86FC-F56588E9C8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5918" y="5000636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357158" y="357166"/>
            <a:ext cx="8429684" cy="464347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85918" y="5567374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345C3B-6938-4175-8ED4-F5202FE76C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93856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9220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57188" y="6572250"/>
            <a:ext cx="1214437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smtClean="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3000" y="6572250"/>
            <a:ext cx="2895600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0" y="6572250"/>
            <a:ext cx="428625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40036BC6-276E-4C58-9CD9-1F921C17584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263" name="Picture 239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5563" y="6325719"/>
            <a:ext cx="2108310" cy="263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74" r:id="rId5"/>
    <p:sldLayoutId id="2147483881" r:id="rId6"/>
    <p:sldLayoutId id="2147483882" r:id="rId7"/>
    <p:sldLayoutId id="2147483875" r:id="rId8"/>
    <p:sldLayoutId id="2147483876" r:id="rId9"/>
  </p:sldLayoutIdLst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aj@bib.sdu.dk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mitsdu.dk/da/service/bibliotek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libguides.sdu.dk/jura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libguides.sdu.dk/ai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D73D4-4EE3-B527-1D01-3F53EDBD8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4F0A24-B820-4E41-7047-652B87478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80" y="226632"/>
            <a:ext cx="9144000" cy="553211"/>
          </a:xfrm>
        </p:spPr>
        <p:txBody>
          <a:bodyPr/>
          <a:lstStyle/>
          <a:p>
            <a:pPr algn="ctr"/>
            <a:r>
              <a:rPr lang="da-DK" sz="3200" dirty="0"/>
              <a:t>Syddansk Universitetsbibliotek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AA84774-B203-813E-60C9-5B887C95BB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584250" cy="4525963"/>
          </a:xfrm>
        </p:spPr>
        <p:txBody>
          <a:bodyPr/>
          <a:lstStyle/>
          <a:p>
            <a:endParaRPr lang="da-DK" dirty="0"/>
          </a:p>
          <a:p>
            <a:pPr marL="0" indent="0" algn="ctr">
              <a:buNone/>
            </a:pPr>
            <a:endParaRPr lang="da-DK" b="1" dirty="0"/>
          </a:p>
          <a:p>
            <a:pPr marL="0" indent="0" algn="ctr">
              <a:buNone/>
            </a:pPr>
            <a:r>
              <a:rPr lang="da-DK" sz="3200" b="1" dirty="0"/>
              <a:t>Intro fra biblioteket</a:t>
            </a:r>
          </a:p>
          <a:p>
            <a:pPr marL="0" indent="0" algn="ctr">
              <a:buNone/>
            </a:pPr>
            <a:r>
              <a:rPr lang="da-DK" sz="3200" b="1"/>
              <a:t>april 2026</a:t>
            </a:r>
            <a:endParaRPr lang="da-DK" sz="3200" b="1" dirty="0"/>
          </a:p>
          <a:p>
            <a:pPr marL="0" indent="0" algn="ctr">
              <a:buNone/>
            </a:pPr>
            <a:endParaRPr lang="da-DK" sz="3600" b="1" dirty="0"/>
          </a:p>
          <a:p>
            <a:pPr marL="0" indent="0" algn="ctr">
              <a:buNone/>
            </a:pPr>
            <a:r>
              <a:rPr lang="da-DK" sz="1800" b="1" dirty="0"/>
              <a:t>Astrid Jacobsen</a:t>
            </a:r>
          </a:p>
          <a:p>
            <a:pPr marL="0" indent="0" algn="ctr">
              <a:buNone/>
            </a:pPr>
            <a:r>
              <a:rPr lang="da-DK" sz="1800" b="1" dirty="0">
                <a:hlinkClick r:id="rId3"/>
              </a:rPr>
              <a:t>aj@bib.sdu.dk</a:t>
            </a:r>
            <a:r>
              <a:rPr lang="da-DK" sz="1800" b="1" dirty="0"/>
              <a:t>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342709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a-DK">
                <a:hlinkClick r:id="rId3"/>
              </a:rPr>
              <a:t>Bibliotekets hjemmeside</a:t>
            </a:r>
            <a:br>
              <a:rPr lang="da-DK"/>
            </a:br>
            <a:endParaRPr lang="da-DK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9476FC-5E8D-DC1C-5AE5-D4C76EA196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r>
              <a:rPr lang="da-DK" dirty="0"/>
              <a:t>Her finder du bl.a. oplysninger om åbningstider og faciliteter.</a:t>
            </a: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C4A7F9-D86C-30D2-653C-74ABA728F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9953" y="2615877"/>
            <a:ext cx="4444679" cy="196769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00553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B27C72-2E3A-840D-2B2E-9DE3D038FA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646FAB-286D-62E5-C2CA-86812E9B2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wrap="square" anchor="ctr">
            <a:normAutofit/>
          </a:bodyPr>
          <a:lstStyle/>
          <a:p>
            <a:r>
              <a:rPr lang="da-DK" altLang="da-DK">
                <a:hlinkClick r:id="rId3"/>
              </a:rPr>
              <a:t>Jura-guiden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8B9A16D-88CB-6798-9907-2817C5682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r>
              <a:rPr lang="da-DK" dirty="0"/>
              <a:t>Her finder du links til relevante databaser, hjemmesider og vejledninger. Her finder du også links til kurser på biblioteket samt til Book en bibliotekar.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35E29C-F3FA-946E-C1AA-1218F036EB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5800" y="2939970"/>
            <a:ext cx="4381982" cy="23033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6729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wrap="square" anchor="ctr">
            <a:normAutofit/>
          </a:bodyPr>
          <a:lstStyle/>
          <a:p>
            <a:r>
              <a:rPr lang="da-DK" altLang="da-DK" dirty="0">
                <a:hlinkClick r:id="rId3"/>
              </a:rPr>
              <a:t>AI-guid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r>
              <a:rPr lang="da-DK" dirty="0"/>
              <a:t>Her finder du bl.a. links til AI- søgeværktøjer på biblioteket. Samt links til </a:t>
            </a:r>
            <a:r>
              <a:rPr lang="da-DK" dirty="0" err="1"/>
              <a:t>SDU’s</a:t>
            </a:r>
            <a:r>
              <a:rPr lang="da-DK" dirty="0"/>
              <a:t> regler og vejledning om AI.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37D6EE4-8ED9-993B-1B59-446899F04C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5800" y="2939970"/>
            <a:ext cx="4191000" cy="18172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23821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æsentation-SDUB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æsentation-SDUB</Template>
  <TotalTime>2080</TotalTime>
  <Pages>0</Pages>
  <Words>85</Words>
  <Characters>0</Characters>
  <Application>Microsoft Office PowerPoint</Application>
  <PresentationFormat>On-screen Show (4:3)</PresentationFormat>
  <Lines>0</Lines>
  <Paragraphs>2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Gill Sans</vt:lpstr>
      <vt:lpstr>Gill Sans MT</vt:lpstr>
      <vt:lpstr>Wingdings</vt:lpstr>
      <vt:lpstr>Præsentation-SDUB</vt:lpstr>
      <vt:lpstr>think-cell Slide</vt:lpstr>
      <vt:lpstr>Syddansk Universitetsbibliotek</vt:lpstr>
      <vt:lpstr>Bibliotekets hjemmeside </vt:lpstr>
      <vt:lpstr>Jura-guiden</vt:lpstr>
      <vt:lpstr>AI-guiden</vt:lpstr>
    </vt:vector>
  </TitlesOfParts>
  <Company>Syddansk Unversitet - University of Southern Denmar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lkommen</dc:title>
  <dc:creator>Jette Jorsal</dc:creator>
  <cp:lastModifiedBy>Astrid Jacobsen</cp:lastModifiedBy>
  <cp:revision>82</cp:revision>
  <cp:lastPrinted>2015-11-17T09:19:47Z</cp:lastPrinted>
  <dcterms:created xsi:type="dcterms:W3CDTF">2016-09-12T12:03:39Z</dcterms:created>
  <dcterms:modified xsi:type="dcterms:W3CDTF">2026-04-17T10:23:47Z</dcterms:modified>
</cp:coreProperties>
</file>